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842" r:id="rId2"/>
    <p:sldId id="954" r:id="rId3"/>
    <p:sldId id="955" r:id="rId4"/>
    <p:sldId id="956" r:id="rId5"/>
    <p:sldId id="957" r:id="rId6"/>
    <p:sldId id="76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svg"/><Relationship Id="rId18" Type="http://schemas.openxmlformats.org/officeDocument/2006/relationships/image" Target="../media/image14.emf"/><Relationship Id="rId3" Type="http://schemas.openxmlformats.org/officeDocument/2006/relationships/tags" Target="../tags/tag3.xml"/><Relationship Id="rId21" Type="http://schemas.openxmlformats.org/officeDocument/2006/relationships/image" Target="../media/image17.emf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17" Type="http://schemas.openxmlformats.org/officeDocument/2006/relationships/image" Target="../media/image13.emf"/><Relationship Id="rId2" Type="http://schemas.openxmlformats.org/officeDocument/2006/relationships/tags" Target="../tags/tag2.xml"/><Relationship Id="rId16" Type="http://schemas.openxmlformats.org/officeDocument/2006/relationships/image" Target="../media/image12.emf"/><Relationship Id="rId20" Type="http://schemas.openxmlformats.org/officeDocument/2006/relationships/image" Target="../media/image16.emf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emf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2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1.emf"/><Relationship Id="rId2" Type="http://schemas.openxmlformats.org/officeDocument/2006/relationships/tags" Target="../tags/tag5.xml"/><Relationship Id="rId16" Type="http://schemas.openxmlformats.org/officeDocument/2006/relationships/image" Target="../media/image20.emf"/><Relationship Id="rId20" Type="http://schemas.openxmlformats.org/officeDocument/2006/relationships/image" Target="../media/image24.emf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9.emf"/><Relationship Id="rId10" Type="http://schemas.openxmlformats.org/officeDocument/2006/relationships/image" Target="../media/image7.svg"/><Relationship Id="rId19" Type="http://schemas.openxmlformats.org/officeDocument/2006/relationships/image" Target="../media/image23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8.emf"/><Relationship Id="rId3" Type="http://schemas.openxmlformats.org/officeDocument/2006/relationships/tags" Target="../tags/tag9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7.emf"/><Relationship Id="rId2" Type="http://schemas.openxmlformats.org/officeDocument/2006/relationships/tags" Target="../tags/tag8.xml"/><Relationship Id="rId16" Type="http://schemas.openxmlformats.org/officeDocument/2006/relationships/image" Target="../media/image26.emf"/><Relationship Id="rId20" Type="http://schemas.openxmlformats.org/officeDocument/2006/relationships/image" Target="../media/image30.emf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25.emf"/><Relationship Id="rId10" Type="http://schemas.openxmlformats.org/officeDocument/2006/relationships/image" Target="../media/image7.svg"/><Relationship Id="rId19" Type="http://schemas.openxmlformats.org/officeDocument/2006/relationships/image" Target="../media/image29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34.emf"/><Relationship Id="rId3" Type="http://schemas.openxmlformats.org/officeDocument/2006/relationships/tags" Target="../tags/tag1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33.emf"/><Relationship Id="rId2" Type="http://schemas.openxmlformats.org/officeDocument/2006/relationships/tags" Target="../tags/tag11.xml"/><Relationship Id="rId16" Type="http://schemas.openxmlformats.org/officeDocument/2006/relationships/image" Target="../media/image32.emf"/><Relationship Id="rId20" Type="http://schemas.openxmlformats.org/officeDocument/2006/relationships/image" Target="../media/image36.emf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1.emf"/><Relationship Id="rId10" Type="http://schemas.openxmlformats.org/officeDocument/2006/relationships/image" Target="../media/image7.svg"/><Relationship Id="rId19" Type="http://schemas.openxmlformats.org/officeDocument/2006/relationships/image" Target="../media/image35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03 octobre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1AAEBF28-B859-8A03-EC00-3505759AB7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4D71288-44F2-543D-777B-69776B6F5D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4" progId="TCLayout.ActiveDocument.1">
                  <p:embed/>
                </p:oleObj>
              </mc:Choice>
              <mc:Fallback>
                <p:oleObj name="think-cell Slide" r:id="rId8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L.V.A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3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5,4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NA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3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3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2,2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’huiles et graisses végétales et animal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'huiles et graisses brut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88,8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-2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ABB54CE3-8ABF-A9EE-BAE7-9DE76673A4C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C57E0D9-962C-64B3-1272-B94D6F35BEA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9A10207-422D-C772-DB4A-9938291C5C2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45E16B1-3D1D-50AF-5BA7-F93A9753EBA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7FBF4AE-D1D2-7625-B60F-97AEC38AFFE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F385B29E-520F-3BC7-C370-9962522BC76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55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999385E-A6EA-0A68-4856-5F0D8B14C8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S.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3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7,8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18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62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3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boisson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vins effervescent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4,9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,7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F25FB9D-1946-3610-D963-937DF38916A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3F505E2-ACE3-136E-5B50-661D679DFBD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C891C56-6A53-3A55-9C39-F5A68C1C7C4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EA7C34E-1A07-53A9-B103-F38D424823E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41ACA5C-6715-4015-6AA2-F6C89936750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609F5443-2D5B-18B4-87D4-1361BC9982B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370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7C46F19-C9DD-622D-ACCD-657AEC1FC8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 DE L'ORIENT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3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4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10,6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4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,6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9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8,2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,3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08DBC104-91CE-0739-9297-FF25E022E76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94BC8E7-0D58-197B-468F-AB6218F4478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0AD1581-D248-759C-B2E7-ABD0416543C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80411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F6C0DA1-0382-14E3-4D5A-0CBDAC5B905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6581D6D-2BCF-D0A0-2C78-8FC57DAF834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D87C220-13CD-3E4D-8ADE-BBA78F9A9F0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061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DBF45E0E-15DF-048D-DF92-954F5EEA86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S DES CRETS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3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6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9,0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6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6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,7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,1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98,1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5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F26E79F7-78A2-412B-7F99-94E0537B9D6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FF46A7A-8020-C200-548E-8BC85FA2856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3159958-31CE-B478-E7D4-0F7E58BECF9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EE88D04-96A5-6BE0-2326-B17F731F592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A88CBE2-39C4-702A-197C-FCC95EEEA7A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3DDA74C-FB23-CDA8-FF38-8FCE185C914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2541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615</Words>
  <Application>Microsoft Office PowerPoint</Application>
  <PresentationFormat>Widescreen</PresentationFormat>
  <Paragraphs>15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102</cp:revision>
  <dcterms:created xsi:type="dcterms:W3CDTF">2025-05-09T11:21:43Z</dcterms:created>
  <dcterms:modified xsi:type="dcterms:W3CDTF">2025-10-03T08:20:02Z</dcterms:modified>
</cp:coreProperties>
</file>